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63" r:id="rId6"/>
    <p:sldId id="262" r:id="rId7"/>
    <p:sldId id="264" r:id="rId8"/>
    <p:sldId id="265" r:id="rId9"/>
  </p:sldIdLst>
  <p:sldSz cx="12192000" cy="6858000"/>
  <p:notesSz cx="6858000" cy="9144000"/>
  <p:custDataLst>
    <p:tags r:id="rId10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3964A90-9B57-4D6F-B3DF-11A670CF9BB6}" v="770" dt="2022-04-25T17:17:23.36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1" d="100"/>
          <a:sy n="81" d="100"/>
        </p:scale>
        <p:origin x="75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lmqvist, Christina" userId="92ec7fe0-f644-48aa-949c-9e67b2943009" providerId="ADAL" clId="{33964A90-9B57-4D6F-B3DF-11A670CF9BB6}"/>
    <pc:docChg chg="undo custSel addSld delSld modSld sldOrd">
      <pc:chgData name="Malmqvist, Christina" userId="92ec7fe0-f644-48aa-949c-9e67b2943009" providerId="ADAL" clId="{33964A90-9B57-4D6F-B3DF-11A670CF9BB6}" dt="2022-04-25T16:12:01.052" v="1208"/>
      <pc:docMkLst>
        <pc:docMk/>
      </pc:docMkLst>
      <pc:sldChg chg="addSp delSp modSp mod">
        <pc:chgData name="Malmqvist, Christina" userId="92ec7fe0-f644-48aa-949c-9e67b2943009" providerId="ADAL" clId="{33964A90-9B57-4D6F-B3DF-11A670CF9BB6}" dt="2022-04-25T12:48:30.054" v="1072" actId="1076"/>
        <pc:sldMkLst>
          <pc:docMk/>
          <pc:sldMk cId="2008539886" sldId="262"/>
        </pc:sldMkLst>
        <pc:spChg chg="mod">
          <ac:chgData name="Malmqvist, Christina" userId="92ec7fe0-f644-48aa-949c-9e67b2943009" providerId="ADAL" clId="{33964A90-9B57-4D6F-B3DF-11A670CF9BB6}" dt="2022-04-22T11:12:36.502" v="70" actId="948"/>
          <ac:spMkLst>
            <pc:docMk/>
            <pc:sldMk cId="2008539886" sldId="262"/>
            <ac:spMk id="2" creationId="{B180168F-621F-4640-9E93-D66951EF803F}"/>
          </ac:spMkLst>
        </pc:spChg>
        <pc:spChg chg="mod">
          <ac:chgData name="Malmqvist, Christina" userId="92ec7fe0-f644-48aa-949c-9e67b2943009" providerId="ADAL" clId="{33964A90-9B57-4D6F-B3DF-11A670CF9BB6}" dt="2022-04-25T12:48:20.969" v="1071" actId="20577"/>
          <ac:spMkLst>
            <pc:docMk/>
            <pc:sldMk cId="2008539886" sldId="262"/>
            <ac:spMk id="3" creationId="{50F52365-910F-4B2D-A094-F198FBA7CC0B}"/>
          </ac:spMkLst>
        </pc:spChg>
        <pc:spChg chg="add del mod modVis">
          <ac:chgData name="Malmqvist, Christina" userId="92ec7fe0-f644-48aa-949c-9e67b2943009" providerId="ADAL" clId="{33964A90-9B57-4D6F-B3DF-11A670CF9BB6}" dt="2022-04-22T11:12:30.532" v="66"/>
          <ac:spMkLst>
            <pc:docMk/>
            <pc:sldMk cId="2008539886" sldId="262"/>
            <ac:spMk id="10" creationId="{6DBB1B6E-826D-419F-A164-A841EEDF4281}"/>
          </ac:spMkLst>
        </pc:spChg>
        <pc:spChg chg="add del mod modVis">
          <ac:chgData name="Malmqvist, Christina" userId="92ec7fe0-f644-48aa-949c-9e67b2943009" providerId="ADAL" clId="{33964A90-9B57-4D6F-B3DF-11A670CF9BB6}" dt="2022-04-22T11:12:36.564" v="109"/>
          <ac:spMkLst>
            <pc:docMk/>
            <pc:sldMk cId="2008539886" sldId="262"/>
            <ac:spMk id="11" creationId="{F238F886-5213-4E3A-BCE8-802F083BCDFB}"/>
          </ac:spMkLst>
        </pc:spChg>
        <pc:graphicFrameChg chg="mod">
          <ac:chgData name="Malmqvist, Christina" userId="92ec7fe0-f644-48aa-949c-9e67b2943009" providerId="ADAL" clId="{33964A90-9B57-4D6F-B3DF-11A670CF9BB6}" dt="2022-04-22T11:12:36.567" v="111"/>
          <ac:graphicFrameMkLst>
            <pc:docMk/>
            <pc:sldMk cId="2008539886" sldId="262"/>
            <ac:graphicFrameMk id="6" creationId="{D1DCC188-92CA-4DEE-B67E-1C32C04CB08D}"/>
          </ac:graphicFrameMkLst>
        </pc:graphicFrameChg>
        <pc:picChg chg="mod">
          <ac:chgData name="Malmqvist, Christina" userId="92ec7fe0-f644-48aa-949c-9e67b2943009" providerId="ADAL" clId="{33964A90-9B57-4D6F-B3DF-11A670CF9BB6}" dt="2022-04-25T12:48:30.054" v="1072" actId="1076"/>
          <ac:picMkLst>
            <pc:docMk/>
            <pc:sldMk cId="2008539886" sldId="262"/>
            <ac:picMk id="7" creationId="{97B4F030-3671-41B8-842D-7935BF1CEB73}"/>
          </ac:picMkLst>
        </pc:picChg>
      </pc:sldChg>
      <pc:sldChg chg="modSp mod">
        <pc:chgData name="Malmqvist, Christina" userId="92ec7fe0-f644-48aa-949c-9e67b2943009" providerId="ADAL" clId="{33964A90-9B57-4D6F-B3DF-11A670CF9BB6}" dt="2022-04-22T11:39:35.719" v="497" actId="14100"/>
        <pc:sldMkLst>
          <pc:docMk/>
          <pc:sldMk cId="1548184842" sldId="263"/>
        </pc:sldMkLst>
        <pc:spChg chg="mod">
          <ac:chgData name="Malmqvist, Christina" userId="92ec7fe0-f644-48aa-949c-9e67b2943009" providerId="ADAL" clId="{33964A90-9B57-4D6F-B3DF-11A670CF9BB6}" dt="2022-04-22T11:39:35.719" v="497" actId="14100"/>
          <ac:spMkLst>
            <pc:docMk/>
            <pc:sldMk cId="1548184842" sldId="263"/>
            <ac:spMk id="10" creationId="{89FDB87E-B2F1-4AF5-B5F7-AA5DFDF4049D}"/>
          </ac:spMkLst>
        </pc:spChg>
        <pc:picChg chg="mod">
          <ac:chgData name="Malmqvist, Christina" userId="92ec7fe0-f644-48aa-949c-9e67b2943009" providerId="ADAL" clId="{33964A90-9B57-4D6F-B3DF-11A670CF9BB6}" dt="2022-04-22T11:13:07.260" v="117" actId="14100"/>
          <ac:picMkLst>
            <pc:docMk/>
            <pc:sldMk cId="1548184842" sldId="263"/>
            <ac:picMk id="4" creationId="{F8B05203-224D-4DBF-9678-8E12532D85A1}"/>
          </ac:picMkLst>
        </pc:picChg>
      </pc:sldChg>
      <pc:sldChg chg="addSp delSp modSp mod ord">
        <pc:chgData name="Malmqvist, Christina" userId="92ec7fe0-f644-48aa-949c-9e67b2943009" providerId="ADAL" clId="{33964A90-9B57-4D6F-B3DF-11A670CF9BB6}" dt="2022-04-25T13:48:30.706" v="1205" actId="20577"/>
        <pc:sldMkLst>
          <pc:docMk/>
          <pc:sldMk cId="222140140" sldId="264"/>
        </pc:sldMkLst>
        <pc:spChg chg="mod">
          <ac:chgData name="Malmqvist, Christina" userId="92ec7fe0-f644-48aa-949c-9e67b2943009" providerId="ADAL" clId="{33964A90-9B57-4D6F-B3DF-11A670CF9BB6}" dt="2022-04-25T13:48:30.706" v="1205" actId="20577"/>
          <ac:spMkLst>
            <pc:docMk/>
            <pc:sldMk cId="222140140" sldId="264"/>
            <ac:spMk id="16" creationId="{25161766-E83C-4D2B-AEEB-B883F2F238CB}"/>
          </ac:spMkLst>
        </pc:spChg>
        <pc:picChg chg="del">
          <ac:chgData name="Malmqvist, Christina" userId="92ec7fe0-f644-48aa-949c-9e67b2943009" providerId="ADAL" clId="{33964A90-9B57-4D6F-B3DF-11A670CF9BB6}" dt="2022-04-22T11:12:51.572" v="113" actId="478"/>
          <ac:picMkLst>
            <pc:docMk/>
            <pc:sldMk cId="222140140" sldId="264"/>
            <ac:picMk id="4" creationId="{31311F6E-2074-4745-873B-EC29FEB9A669}"/>
          </ac:picMkLst>
        </pc:picChg>
        <pc:picChg chg="add del mod">
          <ac:chgData name="Malmqvist, Christina" userId="92ec7fe0-f644-48aa-949c-9e67b2943009" providerId="ADAL" clId="{33964A90-9B57-4D6F-B3DF-11A670CF9BB6}" dt="2022-04-22T11:13:11.269" v="118" actId="478"/>
          <ac:picMkLst>
            <pc:docMk/>
            <pc:sldMk cId="222140140" sldId="264"/>
            <ac:picMk id="8" creationId="{0BE99BB6-013A-4E16-A5A6-8F74F49A3A47}"/>
          </ac:picMkLst>
        </pc:picChg>
        <pc:picChg chg="add mod">
          <ac:chgData name="Malmqvist, Christina" userId="92ec7fe0-f644-48aa-949c-9e67b2943009" providerId="ADAL" clId="{33964A90-9B57-4D6F-B3DF-11A670CF9BB6}" dt="2022-04-22T11:13:11.614" v="119"/>
          <ac:picMkLst>
            <pc:docMk/>
            <pc:sldMk cId="222140140" sldId="264"/>
            <ac:picMk id="10" creationId="{1065B3E5-5CDC-43B8-9FE1-A2DE171153D5}"/>
          </ac:picMkLst>
        </pc:picChg>
      </pc:sldChg>
      <pc:sldChg chg="addSp delSp modSp mod ord">
        <pc:chgData name="Malmqvist, Christina" userId="92ec7fe0-f644-48aa-949c-9e67b2943009" providerId="ADAL" clId="{33964A90-9B57-4D6F-B3DF-11A670CF9BB6}" dt="2022-04-25T16:12:01.052" v="1208"/>
        <pc:sldMkLst>
          <pc:docMk/>
          <pc:sldMk cId="3538935940" sldId="265"/>
        </pc:sldMkLst>
        <pc:spChg chg="mod">
          <ac:chgData name="Malmqvist, Christina" userId="92ec7fe0-f644-48aa-949c-9e67b2943009" providerId="ADAL" clId="{33964A90-9B57-4D6F-B3DF-11A670CF9BB6}" dt="2022-04-25T07:16:20.565" v="987" actId="20577"/>
          <ac:spMkLst>
            <pc:docMk/>
            <pc:sldMk cId="3538935940" sldId="265"/>
            <ac:spMk id="16" creationId="{25161766-E83C-4D2B-AEEB-B883F2F238CB}"/>
          </ac:spMkLst>
        </pc:spChg>
        <pc:graphicFrameChg chg="mod">
          <ac:chgData name="Malmqvist, Christina" userId="92ec7fe0-f644-48aa-949c-9e67b2943009" providerId="ADAL" clId="{33964A90-9B57-4D6F-B3DF-11A670CF9BB6}" dt="2022-04-25T07:15:31.002" v="983" actId="1076"/>
          <ac:graphicFrameMkLst>
            <pc:docMk/>
            <pc:sldMk cId="3538935940" sldId="265"/>
            <ac:graphicFrameMk id="5" creationId="{D219A318-173B-472F-BE3D-D5C8D3E9BF28}"/>
          </ac:graphicFrameMkLst>
        </pc:graphicFrameChg>
        <pc:graphicFrameChg chg="mod">
          <ac:chgData name="Malmqvist, Christina" userId="92ec7fe0-f644-48aa-949c-9e67b2943009" providerId="ADAL" clId="{33964A90-9B57-4D6F-B3DF-11A670CF9BB6}" dt="2022-04-25T16:12:01.052" v="1208"/>
          <ac:graphicFrameMkLst>
            <pc:docMk/>
            <pc:sldMk cId="3538935940" sldId="265"/>
            <ac:graphicFrameMk id="7" creationId="{F0B579A0-DE0C-4C6E-97DF-D97E441D2A14}"/>
          </ac:graphicFrameMkLst>
        </pc:graphicFrameChg>
        <pc:picChg chg="mod">
          <ac:chgData name="Malmqvist, Christina" userId="92ec7fe0-f644-48aa-949c-9e67b2943009" providerId="ADAL" clId="{33964A90-9B57-4D6F-B3DF-11A670CF9BB6}" dt="2022-04-25T07:15:21.826" v="979" actId="14100"/>
          <ac:picMkLst>
            <pc:docMk/>
            <pc:sldMk cId="3538935940" sldId="265"/>
            <ac:picMk id="3" creationId="{DCB55D0E-8D17-4773-9F21-C32EE12BC7BE}"/>
          </ac:picMkLst>
        </pc:picChg>
        <pc:picChg chg="del">
          <ac:chgData name="Malmqvist, Christina" userId="92ec7fe0-f644-48aa-949c-9e67b2943009" providerId="ADAL" clId="{33964A90-9B57-4D6F-B3DF-11A670CF9BB6}" dt="2022-04-22T11:13:13.947" v="120" actId="478"/>
          <ac:picMkLst>
            <pc:docMk/>
            <pc:sldMk cId="3538935940" sldId="265"/>
            <ac:picMk id="4" creationId="{31311F6E-2074-4745-873B-EC29FEB9A669}"/>
          </ac:picMkLst>
        </pc:picChg>
        <pc:picChg chg="add mod">
          <ac:chgData name="Malmqvist, Christina" userId="92ec7fe0-f644-48aa-949c-9e67b2943009" providerId="ADAL" clId="{33964A90-9B57-4D6F-B3DF-11A670CF9BB6}" dt="2022-04-22T11:13:14.330" v="121"/>
          <ac:picMkLst>
            <pc:docMk/>
            <pc:sldMk cId="3538935940" sldId="265"/>
            <ac:picMk id="9" creationId="{511868D3-71F1-47F0-A998-0FDF6E389484}"/>
          </ac:picMkLst>
        </pc:picChg>
      </pc:sldChg>
      <pc:sldChg chg="modSp add del mod">
        <pc:chgData name="Malmqvist, Christina" userId="92ec7fe0-f644-48aa-949c-9e67b2943009" providerId="ADAL" clId="{33964A90-9B57-4D6F-B3DF-11A670CF9BB6}" dt="2022-04-22T11:30:31.483" v="426" actId="47"/>
        <pc:sldMkLst>
          <pc:docMk/>
          <pc:sldMk cId="1846969412" sldId="266"/>
        </pc:sldMkLst>
        <pc:spChg chg="mod">
          <ac:chgData name="Malmqvist, Christina" userId="92ec7fe0-f644-48aa-949c-9e67b2943009" providerId="ADAL" clId="{33964A90-9B57-4D6F-B3DF-11A670CF9BB6}" dt="2022-04-22T11:30:18.396" v="421" actId="21"/>
          <ac:spMkLst>
            <pc:docMk/>
            <pc:sldMk cId="1846969412" sldId="266"/>
            <ac:spMk id="10" creationId="{89FDB87E-B2F1-4AF5-B5F7-AA5DFDF4049D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A5577-4286-4201-A6D6-57FC6A537A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C89436-8965-4251-9290-2BBBB3C979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CC9149-EB5F-46E9-A6F4-5DB9CFA887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0C812-8888-403A-9060-4AE9ECB15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986A53-5491-43FB-A14C-1734A6E8DF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92300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A2F96-BFCD-493D-BB82-75540925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59B91A-8290-41B8-8E2D-DA6895E4392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564349-5C1B-463B-AE80-DA173C7A9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381E3D-3CDB-4C9D-8908-62DA76017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FD22D8-A771-4F05-ACCA-8853A02749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216556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153FD0-70F8-403D-9DB3-53A60FB762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C5F1FF-7D66-4B61-BBFE-674CFE3626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97B0AB-3C84-42AD-915B-E9CCCD35D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AF39F0-48F6-4BFC-B0E0-C60E4BAB5B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760410-4E90-4A25-821D-4662E460B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00919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20DDED-18C4-46B2-B944-636C3B808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44108A-4697-4818-8A64-8CB1EAEEA7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598298-3C3E-4178-A851-A2DE01237F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098A98-B474-439A-85EB-EC16D2EB0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E27135-87E7-4BC1-99DB-0027B15321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163796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E612A5-0881-44C9-BF53-FACF597D6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1040B6-3D42-4832-9296-396F4A220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DA1C72-E13D-483C-B513-0AC96CB0BF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82ECE1E-FBDF-446E-8461-979085D536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1D531B-C020-4301-B2BD-69007EC53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628204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987A34-760F-44A1-8708-3F514F2568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E11033-3C4D-4EDC-AF25-220D4C0A75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6F0DED-5D76-45F4-ABF5-BC267336F9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C11E81-269B-4B0F-8896-50FDF0E6AE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CB9102E-C301-48C8-9479-190A8F572F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505C35D-B0F7-4964-8E66-9F82134D8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84603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5769BA-64B9-40FB-8A75-B329F228B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547F42-08B4-4717-BBCD-055E008023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DD22BBC-C17A-4860-93CB-CB4159C689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F87E3C-FA90-4DA5-A125-573A34FCA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0E1272C-6359-4136-828E-2B055CE77A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9F64C0A-385E-403C-A0C1-94F269A0C4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E71D68B-26E3-40D8-8DB9-BE805B852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F32149E-66E9-47D4-9BA9-10ED03CFAA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20418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2596F-BE25-4D02-9C8C-2FD112183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3E54E85-6B04-4F32-836F-162C09CB72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0C3F12-AA28-4582-9A38-0A2FAD73F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DA1045-BB7E-4A31-8E4C-00788D3EF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632206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D68527-80E5-4A99-9728-64360E8468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F3888-D0EF-4559-8EFC-C4C574C01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1F2C60-33E0-49C7-BA6A-AFE334CC6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84410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A8E0B7-D6A3-4E09-8C85-3D16CDF998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37C929-3BE9-4521-A23A-ACF310B363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07F1868-AE0E-4130-A70C-7D998E383D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C93240-5FD0-4818-A2BC-737A0F3A6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063743-C353-4D8B-B11C-81C5F9CC49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0E6680-70A3-4501-A292-756021918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31409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D16390-393B-446A-9CD3-A20CCEBA10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45E7553-7C53-42D0-AA90-2BF482975C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5AB48A-9992-4818-B0DF-109FC185BFB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247E17-D7F3-40F4-A519-ED30710322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8345E1-5873-44A4-8EEC-35751DECB1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1BB770-3D57-4742-AD56-F30A607BE8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77825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DCBA7E-DBBA-4655-B0C0-48CFDA2D33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211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98" imgH="499" progId="TCLayout.ActiveDocument.1">
                  <p:embed/>
                </p:oleObj>
              </mc:Choice>
              <mc:Fallback>
                <p:oleObj name="think-cell Slide" r:id="rId14" imgW="498" imgH="49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5DCBA7E-DBBA-4655-B0C0-48CFDA2D33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5B16CC9-5D5B-4D14-885D-48E894227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BA5A81-EBA2-4C1E-A580-A7410B4A59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2C359-72D7-44CC-82E6-69E20361CD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0C9A30-FADD-4C5E-880C-31EC8C21C659}" type="datetimeFigureOut">
              <a:rPr lang="sv-SE" smtClean="0"/>
              <a:t>2022-04-25</a:t>
            </a:fld>
            <a:endParaRPr lang="sv-SE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4D847C-BB2B-4656-9D0E-A2DD7B23D2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21637-D9F3-48B1-86BD-3BA897BC05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EEB154-BE30-470E-B727-2A719AFA1240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2089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https://www.cupmate.nu/matcher.php?iCupID=14149&amp;iClassID=15196" TargetMode="Externa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.jpeg"/><Relationship Id="rId5" Type="http://schemas.openxmlformats.org/officeDocument/2006/relationships/hyperlink" Target="https://www.ojersjoif.se/Page/353961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oleObject" Target="../embeddings/oleObject6.bin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4.w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0758B2F-A49A-485F-934D-7F3ED441A2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017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0758B2F-A49A-485F-934D-7F3ED441A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9203DE33-2CD4-4CA8-9AF3-37C3B65133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"/>
            <a:ext cx="12192000" cy="68579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AF57B88-1D4C-41FA-A761-EC1DD10C35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11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2548F45-5164-4ABB-8212-7F293FDE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9565" y="2659404"/>
            <a:ext cx="4355594" cy="4040742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E81CCFB-7BEF-4186-86FB-D09450B4D0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6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AE02FF-05F7-4872-9C0F-73ABD85BFF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473" y="2950387"/>
            <a:ext cx="3273350" cy="3531403"/>
          </a:xfrm>
        </p:spPr>
        <p:txBody>
          <a:bodyPr vert="horz" anchor="t">
            <a:normAutofit/>
          </a:bodyPr>
          <a:lstStyle/>
          <a:p>
            <a:pPr algn="r"/>
            <a:r>
              <a:rPr lang="sv-SE" sz="4000" dirty="0">
                <a:solidFill>
                  <a:srgbClr val="FFFFFF"/>
                </a:solidFill>
              </a:rPr>
              <a:t>Öjersjö IF P-15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185909-A219-4973-8380-E6DB8CCFAA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255" y="743804"/>
            <a:ext cx="3487783" cy="1382392"/>
          </a:xfrm>
        </p:spPr>
        <p:txBody>
          <a:bodyPr anchor="b">
            <a:normAutofit/>
          </a:bodyPr>
          <a:lstStyle/>
          <a:p>
            <a:pPr algn="r"/>
            <a:r>
              <a:rPr lang="sv-SE" sz="2000" dirty="0">
                <a:solidFill>
                  <a:srgbClr val="FFFFFF"/>
                </a:solidFill>
              </a:rPr>
              <a:t>Föräldramöte 25-04-2022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D40F675-6119-4007-8B44-7D020DD0CB9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5216388" y="232510"/>
            <a:ext cx="6259331" cy="624928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41040934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E1984B6-CB27-4333-AE42-C55F7E674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057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E1984B6-CB27-4333-AE42-C55F7E674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8B05203-224D-4DBF-9678-8E12532D85A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123604" y="105342"/>
            <a:ext cx="2902911" cy="289825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9FDB87E-B2F1-4AF5-B5F7-AA5DFDF404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26515" y="1652944"/>
            <a:ext cx="8763321" cy="4069625"/>
          </a:xfrm>
        </p:spPr>
        <p:txBody>
          <a:bodyPr>
            <a:normAutofit fontScale="70000" lnSpcReduction="20000"/>
          </a:bodyPr>
          <a:lstStyle/>
          <a:p>
            <a:pPr marL="457200" lvl="1" indent="0">
              <a:buNone/>
            </a:pPr>
            <a:r>
              <a:rPr lang="sv-SE" sz="5200" dirty="0"/>
              <a:t>Ledare P-15 </a:t>
            </a:r>
          </a:p>
          <a:p>
            <a:pPr marL="457200" lvl="1" indent="0">
              <a:buNone/>
            </a:pPr>
            <a:endParaRPr lang="sv-SE" sz="3200" dirty="0"/>
          </a:p>
          <a:p>
            <a:pPr lvl="1"/>
            <a:r>
              <a:rPr lang="sv-SE" sz="3200" dirty="0"/>
              <a:t>Richard Berggren (Adam)			070-7745674</a:t>
            </a:r>
          </a:p>
          <a:p>
            <a:pPr lvl="1"/>
            <a:r>
              <a:rPr lang="sv-SE" sz="3200" dirty="0"/>
              <a:t>Eric Åkerman(Nelson)			070-0818118</a:t>
            </a:r>
          </a:p>
          <a:p>
            <a:pPr lvl="1"/>
            <a:r>
              <a:rPr lang="sv-SE" sz="3200" dirty="0"/>
              <a:t>Niclas Palmer (William P)			076-8985343</a:t>
            </a:r>
          </a:p>
          <a:p>
            <a:pPr lvl="1"/>
            <a:r>
              <a:rPr lang="sv-SE" sz="3200" dirty="0"/>
              <a:t>Sanna Rydberg (Elias) 			072-9707604</a:t>
            </a:r>
          </a:p>
          <a:p>
            <a:pPr lvl="1"/>
            <a:r>
              <a:rPr lang="sv-SE" sz="3200" dirty="0"/>
              <a:t>Daniel Möller (Elvin)			070-2295816</a:t>
            </a:r>
          </a:p>
          <a:p>
            <a:pPr lvl="1"/>
            <a:r>
              <a:rPr lang="sv-SE" sz="3200" dirty="0"/>
              <a:t>Tina Malmqvist (Gustav M) 		072-3717884</a:t>
            </a:r>
          </a:p>
          <a:p>
            <a:pPr lvl="1"/>
            <a:endParaRPr lang="sv-SE" sz="3200" dirty="0"/>
          </a:p>
          <a:p>
            <a:pPr lvl="1"/>
            <a:endParaRPr lang="sv-SE" sz="3200" dirty="0"/>
          </a:p>
          <a:p>
            <a:pPr lvl="1"/>
            <a:r>
              <a:rPr lang="sv-SE" sz="3200" i="1" dirty="0"/>
              <a:t>Finns behov av ytterligare ledare/</a:t>
            </a:r>
            <a:r>
              <a:rPr lang="sv-SE" sz="3200" i="1" dirty="0" err="1"/>
              <a:t>admin</a:t>
            </a:r>
            <a:r>
              <a:rPr lang="sv-SE" sz="3200" i="1" dirty="0"/>
              <a:t>! Vi är 30 barn i P-15 gruppen. </a:t>
            </a:r>
          </a:p>
          <a:p>
            <a:pPr lvl="1"/>
            <a:endParaRPr lang="sv-SE" sz="3200" dirty="0"/>
          </a:p>
        </p:txBody>
      </p:sp>
    </p:spTree>
    <p:extLst>
      <p:ext uri="{BB962C8B-B14F-4D97-AF65-F5344CB8AC3E}">
        <p14:creationId xmlns:p14="http://schemas.microsoft.com/office/powerpoint/2010/main" val="15481848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1DCC188-92CA-4DEE-B67E-1C32C04CB0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413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1DCC188-92CA-4DEE-B67E-1C32C04CB0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180168F-621F-4640-9E93-D66951EF8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399" y="0"/>
            <a:ext cx="6116549" cy="1807305"/>
          </a:xfrm>
        </p:spPr>
        <p:txBody>
          <a:bodyPr vert="horz">
            <a:normAutofit/>
          </a:bodyPr>
          <a:lstStyle/>
          <a:p>
            <a:r>
              <a:rPr lang="sv-SE" dirty="0">
                <a:latin typeface="+mn-lt"/>
              </a:rPr>
              <a:t>Träningar &amp; Sammandrag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4E4691C-1E5C-4361-8A4A-A9FB12BCA80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31" r="6480"/>
          <a:stretch/>
        </p:blipFill>
        <p:spPr>
          <a:xfrm>
            <a:off x="20" y="10"/>
            <a:ext cx="6116549" cy="6857990"/>
          </a:xfrm>
          <a:custGeom>
            <a:avLst/>
            <a:gdLst/>
            <a:ahLst/>
            <a:cxnLst/>
            <a:rect l="l" t="t" r="r" b="b"/>
            <a:pathLst>
              <a:path w="6116569" h="6879321">
                <a:moveTo>
                  <a:pt x="0" y="0"/>
                </a:moveTo>
                <a:lnTo>
                  <a:pt x="2935851" y="0"/>
                </a:lnTo>
                <a:cubicBezTo>
                  <a:pt x="3035710" y="10660"/>
                  <a:pt x="3138421" y="17767"/>
                  <a:pt x="3238280" y="31980"/>
                </a:cubicBezTo>
                <a:cubicBezTo>
                  <a:pt x="3817462" y="106602"/>
                  <a:pt x="3127009" y="277163"/>
                  <a:pt x="3660541" y="550772"/>
                </a:cubicBezTo>
                <a:cubicBezTo>
                  <a:pt x="3706191" y="575645"/>
                  <a:pt x="3757546" y="579199"/>
                  <a:pt x="3808902" y="589860"/>
                </a:cubicBezTo>
                <a:cubicBezTo>
                  <a:pt x="4008620" y="625393"/>
                  <a:pt x="4211192" y="618286"/>
                  <a:pt x="4413762" y="625393"/>
                </a:cubicBezTo>
                <a:cubicBezTo>
                  <a:pt x="4465118" y="628946"/>
                  <a:pt x="4525033" y="625393"/>
                  <a:pt x="4567830" y="721333"/>
                </a:cubicBezTo>
                <a:cubicBezTo>
                  <a:pt x="4425175" y="724888"/>
                  <a:pt x="4305344" y="731994"/>
                  <a:pt x="4171247" y="792401"/>
                </a:cubicBezTo>
                <a:cubicBezTo>
                  <a:pt x="4239722" y="859916"/>
                  <a:pt x="4322462" y="795955"/>
                  <a:pt x="4376671" y="842148"/>
                </a:cubicBezTo>
                <a:cubicBezTo>
                  <a:pt x="4428027" y="888342"/>
                  <a:pt x="4470824" y="891896"/>
                  <a:pt x="4527887" y="813722"/>
                </a:cubicBezTo>
                <a:cubicBezTo>
                  <a:pt x="4556417" y="774634"/>
                  <a:pt x="4604920" y="778187"/>
                  <a:pt x="4633452" y="799508"/>
                </a:cubicBezTo>
                <a:cubicBezTo>
                  <a:pt x="4781813" y="913216"/>
                  <a:pt x="4778960" y="909662"/>
                  <a:pt x="4947293" y="870576"/>
                </a:cubicBezTo>
                <a:cubicBezTo>
                  <a:pt x="5055712" y="845701"/>
                  <a:pt x="5166983" y="806615"/>
                  <a:pt x="5263988" y="820828"/>
                </a:cubicBezTo>
                <a:cubicBezTo>
                  <a:pt x="5275401" y="867022"/>
                  <a:pt x="5263988" y="888342"/>
                  <a:pt x="5249723" y="895449"/>
                </a:cubicBezTo>
                <a:cubicBezTo>
                  <a:pt x="5021475" y="1005604"/>
                  <a:pt x="4975825" y="1122864"/>
                  <a:pt x="4744723" y="1197485"/>
                </a:cubicBezTo>
                <a:cubicBezTo>
                  <a:pt x="4724751" y="1268552"/>
                  <a:pt x="4807491" y="1275660"/>
                  <a:pt x="4767548" y="1346727"/>
                </a:cubicBezTo>
                <a:cubicBezTo>
                  <a:pt x="4693367" y="1407134"/>
                  <a:pt x="4610627" y="1346727"/>
                  <a:pt x="4539299" y="1421348"/>
                </a:cubicBezTo>
                <a:cubicBezTo>
                  <a:pt x="4550712" y="1471094"/>
                  <a:pt x="4610627" y="1432008"/>
                  <a:pt x="4607773" y="1485309"/>
                </a:cubicBezTo>
                <a:cubicBezTo>
                  <a:pt x="4604920" y="1517288"/>
                  <a:pt x="4593508" y="1527948"/>
                  <a:pt x="4579242" y="1535055"/>
                </a:cubicBezTo>
                <a:cubicBezTo>
                  <a:pt x="4776107" y="1538608"/>
                  <a:pt x="5383820" y="1574142"/>
                  <a:pt x="5278255" y="1609676"/>
                </a:cubicBezTo>
                <a:cubicBezTo>
                  <a:pt x="5418057" y="1698511"/>
                  <a:pt x="5623481" y="1609676"/>
                  <a:pt x="5771843" y="1630997"/>
                </a:cubicBezTo>
                <a:cubicBezTo>
                  <a:pt x="5925911" y="1652316"/>
                  <a:pt x="6171278" y="1719830"/>
                  <a:pt x="6105656" y="1748257"/>
                </a:cubicBezTo>
                <a:cubicBezTo>
                  <a:pt x="6031475" y="1780238"/>
                  <a:pt x="5766136" y="2146235"/>
                  <a:pt x="5691955" y="2167555"/>
                </a:cubicBezTo>
                <a:cubicBezTo>
                  <a:pt x="5606362" y="2188875"/>
                  <a:pt x="5589243" y="2217302"/>
                  <a:pt x="5475118" y="2348776"/>
                </a:cubicBezTo>
                <a:cubicBezTo>
                  <a:pt x="5398085" y="2437610"/>
                  <a:pt x="5709074" y="2238623"/>
                  <a:pt x="5826051" y="2291922"/>
                </a:cubicBezTo>
                <a:cubicBezTo>
                  <a:pt x="5868848" y="2309690"/>
                  <a:pt x="5552153" y="2554872"/>
                  <a:pt x="5552153" y="2597513"/>
                </a:cubicBezTo>
                <a:cubicBezTo>
                  <a:pt x="5549300" y="2640153"/>
                  <a:pt x="5577831" y="2647260"/>
                  <a:pt x="5603508" y="2647260"/>
                </a:cubicBezTo>
                <a:cubicBezTo>
                  <a:pt x="5660571" y="2647260"/>
                  <a:pt x="5640599" y="2686346"/>
                  <a:pt x="5700515" y="2679240"/>
                </a:cubicBezTo>
                <a:cubicBezTo>
                  <a:pt x="5523622" y="2800055"/>
                  <a:pt x="5418057" y="2778734"/>
                  <a:pt x="5246870" y="2888889"/>
                </a:cubicBezTo>
                <a:cubicBezTo>
                  <a:pt x="5164130" y="2942189"/>
                  <a:pt x="4921615" y="3119857"/>
                  <a:pt x="4836022" y="3169605"/>
                </a:cubicBezTo>
                <a:cubicBezTo>
                  <a:pt x="4801785" y="3187371"/>
                  <a:pt x="4758988" y="3173158"/>
                  <a:pt x="4736163" y="3233565"/>
                </a:cubicBezTo>
                <a:cubicBezTo>
                  <a:pt x="4770400" y="3279759"/>
                  <a:pt x="4816050" y="3254885"/>
                  <a:pt x="4853141" y="3233565"/>
                </a:cubicBezTo>
                <a:cubicBezTo>
                  <a:pt x="4944440" y="3176711"/>
                  <a:pt x="4935881" y="3190925"/>
                  <a:pt x="4944440" y="3226459"/>
                </a:cubicBezTo>
                <a:cubicBezTo>
                  <a:pt x="4972972" y="3350827"/>
                  <a:pt x="5044300" y="3308186"/>
                  <a:pt x="5109921" y="3283313"/>
                </a:cubicBezTo>
                <a:cubicBezTo>
                  <a:pt x="5303932" y="3208692"/>
                  <a:pt x="5500797" y="3215799"/>
                  <a:pt x="5694809" y="3141178"/>
                </a:cubicBezTo>
                <a:cubicBezTo>
                  <a:pt x="5714781" y="3134070"/>
                  <a:pt x="5612068" y="3283313"/>
                  <a:pt x="5566419" y="3301079"/>
                </a:cubicBezTo>
                <a:cubicBezTo>
                  <a:pt x="5515063" y="3322399"/>
                  <a:pt x="5452294" y="3311739"/>
                  <a:pt x="5415203" y="3397020"/>
                </a:cubicBezTo>
                <a:cubicBezTo>
                  <a:pt x="5477972" y="3414787"/>
                  <a:pt x="5552153" y="3372147"/>
                  <a:pt x="5612068" y="3432554"/>
                </a:cubicBezTo>
                <a:cubicBezTo>
                  <a:pt x="5469413" y="3528494"/>
                  <a:pt x="5329610" y="3535601"/>
                  <a:pt x="5206927" y="3599562"/>
                </a:cubicBezTo>
                <a:cubicBezTo>
                  <a:pt x="5192661" y="3706163"/>
                  <a:pt x="5272548" y="3663523"/>
                  <a:pt x="5301079" y="3723930"/>
                </a:cubicBezTo>
                <a:cubicBezTo>
                  <a:pt x="5072830" y="3844745"/>
                  <a:pt x="4564977" y="4232062"/>
                  <a:pt x="4507915" y="4306683"/>
                </a:cubicBezTo>
                <a:cubicBezTo>
                  <a:pt x="4390937" y="4463031"/>
                  <a:pt x="3900202" y="4562525"/>
                  <a:pt x="3982942" y="4587399"/>
                </a:cubicBezTo>
                <a:cubicBezTo>
                  <a:pt x="4051417" y="4608719"/>
                  <a:pt x="4119891" y="4587399"/>
                  <a:pt x="4185513" y="4541205"/>
                </a:cubicBezTo>
                <a:cubicBezTo>
                  <a:pt x="4291078" y="4466584"/>
                  <a:pt x="5010062" y="4523438"/>
                  <a:pt x="5212633" y="4455924"/>
                </a:cubicBezTo>
                <a:cubicBezTo>
                  <a:pt x="5241164" y="4445264"/>
                  <a:pt x="5283960" y="4409730"/>
                  <a:pt x="5312492" y="4473691"/>
                </a:cubicBezTo>
                <a:cubicBezTo>
                  <a:pt x="5098508" y="4704659"/>
                  <a:pt x="4833169" y="4654913"/>
                  <a:pt x="4596361" y="4818368"/>
                </a:cubicBezTo>
                <a:cubicBezTo>
                  <a:pt x="4684807" y="4917861"/>
                  <a:pt x="4776107" y="4907202"/>
                  <a:pt x="4873113" y="4885882"/>
                </a:cubicBezTo>
                <a:cubicBezTo>
                  <a:pt x="4895938" y="4878775"/>
                  <a:pt x="4930175" y="4871668"/>
                  <a:pt x="4935881" y="4914309"/>
                </a:cubicBezTo>
                <a:cubicBezTo>
                  <a:pt x="4941587" y="4967609"/>
                  <a:pt x="4898790" y="4978270"/>
                  <a:pt x="4873113" y="5003143"/>
                </a:cubicBezTo>
                <a:cubicBezTo>
                  <a:pt x="4833169" y="5038676"/>
                  <a:pt x="4773254" y="4999590"/>
                  <a:pt x="4721898" y="5095530"/>
                </a:cubicBezTo>
                <a:cubicBezTo>
                  <a:pt x="4873113" y="5067104"/>
                  <a:pt x="4998650" y="5020910"/>
                  <a:pt x="5132745" y="4949842"/>
                </a:cubicBezTo>
                <a:cubicBezTo>
                  <a:pt x="5121333" y="5006696"/>
                  <a:pt x="5081390" y="5035123"/>
                  <a:pt x="5101362" y="5081317"/>
                </a:cubicBezTo>
                <a:cubicBezTo>
                  <a:pt x="5118480" y="5116850"/>
                  <a:pt x="5164130" y="5131063"/>
                  <a:pt x="5138452" y="5198578"/>
                </a:cubicBezTo>
                <a:cubicBezTo>
                  <a:pt x="5067125" y="5273199"/>
                  <a:pt x="4967265" y="5258986"/>
                  <a:pt x="4904497" y="5362033"/>
                </a:cubicBezTo>
                <a:cubicBezTo>
                  <a:pt x="4818903" y="5507721"/>
                  <a:pt x="4684807" y="5564575"/>
                  <a:pt x="4579242" y="5674729"/>
                </a:cubicBezTo>
                <a:cubicBezTo>
                  <a:pt x="4545005" y="5713816"/>
                  <a:pt x="4313903" y="5841738"/>
                  <a:pt x="4253988" y="5884379"/>
                </a:cubicBezTo>
                <a:cubicBezTo>
                  <a:pt x="4168395" y="5944786"/>
                  <a:pt x="4071389" y="5966106"/>
                  <a:pt x="3985795" y="6069153"/>
                </a:cubicBezTo>
                <a:cubicBezTo>
                  <a:pt x="4065682" y="6086921"/>
                  <a:pt x="4134157" y="5990979"/>
                  <a:pt x="4231163" y="6030066"/>
                </a:cubicBezTo>
                <a:cubicBezTo>
                  <a:pt x="4074242" y="6133114"/>
                  <a:pt x="3931586" y="6182861"/>
                  <a:pt x="3814609" y="6317889"/>
                </a:cubicBezTo>
                <a:cubicBezTo>
                  <a:pt x="3800343" y="6335656"/>
                  <a:pt x="3771812" y="6332102"/>
                  <a:pt x="3751840" y="6339209"/>
                </a:cubicBezTo>
                <a:cubicBezTo>
                  <a:pt x="3529298" y="6406723"/>
                  <a:pt x="3309608" y="6467130"/>
                  <a:pt x="3089919" y="6563071"/>
                </a:cubicBezTo>
                <a:cubicBezTo>
                  <a:pt x="3041416" y="6584392"/>
                  <a:pt x="2955823" y="6595052"/>
                  <a:pt x="2961529" y="6662566"/>
                </a:cubicBezTo>
                <a:cubicBezTo>
                  <a:pt x="2972941" y="6765613"/>
                  <a:pt x="3055681" y="6687439"/>
                  <a:pt x="3107038" y="6673226"/>
                </a:cubicBezTo>
                <a:cubicBezTo>
                  <a:pt x="3269664" y="6634138"/>
                  <a:pt x="3432292" y="6570178"/>
                  <a:pt x="3594919" y="6591499"/>
                </a:cubicBezTo>
                <a:cubicBezTo>
                  <a:pt x="3483648" y="6637693"/>
                  <a:pt x="3372376" y="6680332"/>
                  <a:pt x="3261106" y="6726527"/>
                </a:cubicBezTo>
                <a:cubicBezTo>
                  <a:pt x="3386642" y="6705206"/>
                  <a:pt x="3495061" y="6786934"/>
                  <a:pt x="3620597" y="6740740"/>
                </a:cubicBezTo>
                <a:cubicBezTo>
                  <a:pt x="3660541" y="6726527"/>
                  <a:pt x="3700484" y="6765613"/>
                  <a:pt x="3703337" y="6826020"/>
                </a:cubicBezTo>
                <a:cubicBezTo>
                  <a:pt x="3706191" y="6847340"/>
                  <a:pt x="3700484" y="6865108"/>
                  <a:pt x="3689072" y="6879321"/>
                </a:cubicBezTo>
                <a:lnTo>
                  <a:pt x="0" y="6879321"/>
                </a:lnTo>
                <a:close/>
              </a:path>
            </a:pathLst>
          </a:cu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0F52365-910F-4B2D-A094-F198FBA7C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677409"/>
            <a:ext cx="6003337" cy="4929281"/>
          </a:xfrm>
        </p:spPr>
        <p:txBody>
          <a:bodyPr>
            <a:normAutofit fontScale="92500" lnSpcReduction="20000"/>
          </a:bodyPr>
          <a:lstStyle/>
          <a:p>
            <a:r>
              <a:rPr lang="sv-SE" sz="1400" dirty="0"/>
              <a:t>Tränarmöte för att diskutera träningsupplägg, tider, sammandrag etc. </a:t>
            </a:r>
          </a:p>
          <a:p>
            <a:r>
              <a:rPr lang="sv-SE" sz="1300" dirty="0"/>
              <a:t>1 träning/vecka – söndagar 10:00-11.00 på </a:t>
            </a:r>
            <a:r>
              <a:rPr lang="sv-SE" sz="1300" dirty="0" err="1"/>
              <a:t>Storegård</a:t>
            </a:r>
            <a:r>
              <a:rPr lang="sv-SE" sz="1300" dirty="0"/>
              <a:t> (v.12-ca: sommarlovet). Tiden gäller fram till v.43. </a:t>
            </a:r>
          </a:p>
          <a:p>
            <a:r>
              <a:rPr lang="sv-SE" sz="1300" dirty="0"/>
              <a:t>Kom i tid till träningarna! Svårt att hantera alla som droppar in efterhand med hänsyn till lagindelning. </a:t>
            </a:r>
          </a:p>
          <a:p>
            <a:r>
              <a:rPr lang="sv-SE" sz="1300" dirty="0"/>
              <a:t>Öjersjöcupen 7 maj (5 lag anmälda; 26 barn =&gt; ca: 5 spelare/lag). Spelschema: </a:t>
            </a:r>
            <a:r>
              <a:rPr lang="nl-NL" sz="1050" dirty="0" err="1">
                <a:hlinkClick r:id="rId6"/>
              </a:rPr>
              <a:t>Öjersjö</a:t>
            </a:r>
            <a:r>
              <a:rPr lang="nl-NL" sz="1050" dirty="0">
                <a:hlinkClick r:id="rId6"/>
              </a:rPr>
              <a:t> Cup 2022 - 3v3 &amp; 5v5 - Spelschema (cupmate.nu)</a:t>
            </a:r>
            <a:r>
              <a:rPr lang="nl-NL" sz="1050" dirty="0"/>
              <a:t>. </a:t>
            </a:r>
            <a:r>
              <a:rPr lang="sv-SE" sz="1300" dirty="0"/>
              <a:t>Lagindelning kommer inom kort. 1 match = 4*3 minuter. </a:t>
            </a:r>
          </a:p>
          <a:p>
            <a:r>
              <a:rPr lang="sv-SE" sz="1300" dirty="0"/>
              <a:t>Lagindelning: Jämna lag och gärna med någon kompis.</a:t>
            </a:r>
          </a:p>
          <a:p>
            <a:r>
              <a:rPr lang="sv-SE" sz="1300" dirty="0"/>
              <a:t>Sammandrag fungerar som en cup där man möter lag i närområdet under en ½ dag. Spelas i spelformen 3 vs 3 med sarg enligt Svenska fotbollsförbundets regler. Vi är anmälda till 21/5 (3 lag; 20 barn) och kommer att anmäla oss till 3/9 samt 1/10. </a:t>
            </a:r>
          </a:p>
          <a:p>
            <a:endParaRPr lang="sv-SE" sz="1300" dirty="0"/>
          </a:p>
          <a:p>
            <a:endParaRPr lang="sv-SE" sz="1300" dirty="0"/>
          </a:p>
          <a:p>
            <a:endParaRPr lang="sv-SE" sz="1300" dirty="0"/>
          </a:p>
          <a:p>
            <a:endParaRPr lang="sv-SE" sz="1300" dirty="0"/>
          </a:p>
          <a:p>
            <a:endParaRPr lang="sv-SE" sz="1300" dirty="0"/>
          </a:p>
          <a:p>
            <a:r>
              <a:rPr lang="sv-SE" sz="1300" dirty="0"/>
              <a:t>Kalendern på laget.se är uppdaterad och justeras vid behov och allt eftersom nya aktiviteter tillkommer</a:t>
            </a:r>
          </a:p>
          <a:p>
            <a:r>
              <a:rPr lang="sv-SE" sz="1300" dirty="0"/>
              <a:t>Anmälan till träningar/matcher (laget.se). Se till att anmäla/avanmäla närvaro i tid så att vi kan planera på bästa sätt</a:t>
            </a:r>
          </a:p>
          <a:p>
            <a:r>
              <a:rPr lang="sv-SE" sz="1300" dirty="0"/>
              <a:t>Ser gärna föräldranärvaro på träningar och att man griper in vid ev. bråk/stök, samt delaktighet att hjälpa till på linjerna vid matchspel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7B4F030-3671-41B8-842D-7935BF1CEB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0944" y="4019490"/>
            <a:ext cx="1786865" cy="1081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539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145B83-C9EB-4115-AAE1-00F337E052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145B83-C9EB-4115-AAE1-00F337E052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5161766-E83C-4D2B-AEEB-B883F2F238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57928" y="783415"/>
            <a:ext cx="8502104" cy="5145045"/>
          </a:xfrm>
        </p:spPr>
        <p:txBody>
          <a:bodyPr>
            <a:normAutofit fontScale="40000" lnSpcReduction="20000"/>
          </a:bodyPr>
          <a:lstStyle/>
          <a:p>
            <a:pPr marL="457200" lvl="1" indent="0">
              <a:buNone/>
            </a:pPr>
            <a:r>
              <a:rPr lang="sv-SE" sz="9300" dirty="0"/>
              <a:t>Övrigt</a:t>
            </a:r>
          </a:p>
          <a:p>
            <a:pPr marL="457200" lvl="1" indent="0">
              <a:buNone/>
            </a:pPr>
            <a:endParaRPr lang="sv-SE" sz="3200" dirty="0"/>
          </a:p>
          <a:p>
            <a:pPr lvl="1"/>
            <a:r>
              <a:rPr lang="sv-SE" sz="3200" dirty="0"/>
              <a:t>Benskydd på träningar</a:t>
            </a:r>
          </a:p>
          <a:p>
            <a:pPr lvl="1"/>
            <a:endParaRPr lang="sv-SE" sz="3200" dirty="0"/>
          </a:p>
          <a:p>
            <a:pPr lvl="1"/>
            <a:r>
              <a:rPr lang="sv-SE" sz="3200" dirty="0"/>
              <a:t>Laget </a:t>
            </a:r>
            <a:r>
              <a:rPr lang="sv-SE" sz="3200" dirty="0" err="1"/>
              <a:t>appen</a:t>
            </a:r>
            <a:r>
              <a:rPr lang="sv-SE" sz="3200" dirty="0"/>
              <a:t> - lägg gärna in foto </a:t>
            </a:r>
            <a:r>
              <a:rPr lang="sv-SE" sz="3200" dirty="0">
                <a:sym typeface="Wingdings" panose="05000000000000000000" pitchFamily="2" charset="2"/>
              </a:rPr>
              <a:t></a:t>
            </a:r>
            <a:endParaRPr lang="sv-SE" sz="3200" dirty="0"/>
          </a:p>
          <a:p>
            <a:pPr lvl="1"/>
            <a:endParaRPr lang="sv-SE" sz="3200" dirty="0"/>
          </a:p>
          <a:p>
            <a:pPr lvl="1"/>
            <a:r>
              <a:rPr lang="sv-SE" sz="3200" dirty="0"/>
              <a:t>”Först till kvarn” anmälan till sammandrag, ev. justera antalet lag i efterhand vid behov </a:t>
            </a:r>
          </a:p>
          <a:p>
            <a:pPr lvl="1"/>
            <a:r>
              <a:rPr lang="sv-SE" sz="3200" dirty="0"/>
              <a:t>Föräldrar agera domare vid sammandrag om vårt lag står som hemmalag på pappret. </a:t>
            </a:r>
          </a:p>
          <a:p>
            <a:pPr lvl="1"/>
            <a:endParaRPr lang="sv-SE" sz="3200" dirty="0"/>
          </a:p>
          <a:p>
            <a:pPr lvl="1"/>
            <a:r>
              <a:rPr lang="sv-SE" sz="3200" dirty="0"/>
              <a:t>Cupgruppen; 1-2 representanter från vårt lag (Henrik Aspevall +?) </a:t>
            </a:r>
          </a:p>
          <a:p>
            <a:pPr lvl="1"/>
            <a:r>
              <a:rPr lang="sv-SE" sz="3200" dirty="0"/>
              <a:t>Cafésamordnare; 1 representant från vårt lag (?) </a:t>
            </a:r>
          </a:p>
          <a:p>
            <a:pPr lvl="1"/>
            <a:r>
              <a:rPr lang="sv-SE" sz="3200" dirty="0"/>
              <a:t>Föräldragrupp (ordna lagsammanhållande 2 aktiviteter/år utanför planen ex. grillning på våren, julavslutning) (behöver 2 representanter (?))  </a:t>
            </a:r>
          </a:p>
          <a:p>
            <a:pPr marL="457200" lvl="1" indent="0">
              <a:buNone/>
            </a:pPr>
            <a:r>
              <a:rPr lang="sv-SE" sz="3200" i="1"/>
              <a:t>     (</a:t>
            </a:r>
            <a:r>
              <a:rPr lang="sv-SE" sz="3200" i="1" dirty="0"/>
              <a:t>Om ej frivilliga kommer vi skapa ett rullande schema för dessa ansvarsområden) </a:t>
            </a:r>
          </a:p>
          <a:p>
            <a:pPr lvl="1"/>
            <a:endParaRPr lang="sv-SE" sz="3200" dirty="0"/>
          </a:p>
          <a:p>
            <a:pPr lvl="1"/>
            <a:r>
              <a:rPr lang="sv-SE" sz="3200" dirty="0"/>
              <a:t>Facebook grupp alt. </a:t>
            </a:r>
            <a:r>
              <a:rPr lang="sv-SE" sz="3200" dirty="0" err="1"/>
              <a:t>Whatsapp</a:t>
            </a:r>
            <a:r>
              <a:rPr lang="sv-SE" sz="3200" dirty="0"/>
              <a:t> grupp för kommunikation. </a:t>
            </a:r>
          </a:p>
          <a:p>
            <a:pPr lvl="1"/>
            <a:endParaRPr lang="sv-SE" sz="3200" dirty="0"/>
          </a:p>
          <a:p>
            <a:pPr lvl="1"/>
            <a:r>
              <a:rPr lang="sv-SE" sz="3200" dirty="0"/>
              <a:t>Sommarfotbollsskola v.32 (</a:t>
            </a:r>
            <a:r>
              <a:rPr lang="sv-SE" sz="3200" dirty="0" err="1"/>
              <a:t>tis-tor</a:t>
            </a:r>
            <a:r>
              <a:rPr lang="sv-SE" sz="3200" dirty="0"/>
              <a:t> 09-15) </a:t>
            </a:r>
          </a:p>
          <a:p>
            <a:pPr lvl="1"/>
            <a:endParaRPr lang="sv-SE" sz="3200" dirty="0"/>
          </a:p>
          <a:p>
            <a:pPr lvl="1"/>
            <a:r>
              <a:rPr lang="sv-SE" sz="3200" dirty="0"/>
              <a:t>Öjersjö IF:s kläder finns att beställa på </a:t>
            </a:r>
            <a:r>
              <a:rPr lang="sv-SE" sz="2400" dirty="0">
                <a:hlinkClick r:id="rId5"/>
              </a:rPr>
              <a:t>Klubbshop | Öjersjö IF (ojersjoif.se)</a:t>
            </a:r>
            <a:r>
              <a:rPr lang="sv-SE" sz="2400" dirty="0"/>
              <a:t> </a:t>
            </a:r>
            <a:r>
              <a:rPr lang="sv-SE" sz="3200" dirty="0"/>
              <a:t>och att prova i klubbhuset.</a:t>
            </a:r>
          </a:p>
          <a:p>
            <a:pPr lvl="1"/>
            <a:endParaRPr lang="sv-SE" sz="3200" dirty="0"/>
          </a:p>
          <a:p>
            <a:pPr lvl="1"/>
            <a:r>
              <a:rPr lang="sv-SE" sz="3200" dirty="0"/>
              <a:t>Övriga frågor?  </a:t>
            </a:r>
          </a:p>
          <a:p>
            <a:pPr lvl="1"/>
            <a:endParaRPr lang="sv-SE" sz="3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065B3E5-5CDC-43B8-9FE1-A2DE171153D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123604" y="105342"/>
            <a:ext cx="2902911" cy="289825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221401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145B83-C9EB-4115-AAE1-00F337E052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145B83-C9EB-4115-AAE1-00F337E052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5161766-E83C-4D2B-AEEB-B883F2F238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56649" y="105342"/>
            <a:ext cx="9711747" cy="5726387"/>
          </a:xfrm>
        </p:spPr>
        <p:txBody>
          <a:bodyPr>
            <a:normAutofit fontScale="40000" lnSpcReduction="20000"/>
          </a:bodyPr>
          <a:lstStyle/>
          <a:p>
            <a:pPr marL="457200" lvl="1" indent="0">
              <a:buNone/>
            </a:pPr>
            <a:endParaRPr lang="sv-SE" sz="5200" dirty="0"/>
          </a:p>
          <a:p>
            <a:pPr marL="457200" lvl="1" indent="0">
              <a:buNone/>
            </a:pPr>
            <a:r>
              <a:rPr lang="sv-SE" sz="10000" dirty="0"/>
              <a:t>Föräldra- och Spelarpolicy- Den </a:t>
            </a:r>
            <a:r>
              <a:rPr lang="sv-SE" sz="10000" dirty="0" err="1"/>
              <a:t>VitBlå</a:t>
            </a:r>
            <a:r>
              <a:rPr lang="sv-SE" sz="10000" dirty="0"/>
              <a:t> linjen</a:t>
            </a:r>
          </a:p>
          <a:p>
            <a:pPr marL="457200" lvl="1" indent="0">
              <a:buNone/>
            </a:pPr>
            <a:endParaRPr lang="sv-SE" sz="4400" dirty="0"/>
          </a:p>
          <a:p>
            <a:pPr marL="457200" lvl="1" indent="0">
              <a:buNone/>
            </a:pPr>
            <a:endParaRPr lang="sv-SE" sz="4400" dirty="0"/>
          </a:p>
          <a:p>
            <a:pPr marL="457200" lvl="1" indent="0">
              <a:buNone/>
            </a:pPr>
            <a:endParaRPr lang="sv-SE" dirty="0"/>
          </a:p>
          <a:p>
            <a:pPr marL="457200" lvl="1" indent="0">
              <a:buNone/>
            </a:pPr>
            <a:endParaRPr lang="sv-SE" dirty="0"/>
          </a:p>
          <a:p>
            <a:pPr marL="457200" lvl="1" indent="0">
              <a:buNone/>
            </a:pPr>
            <a:endParaRPr lang="sv-SE" dirty="0"/>
          </a:p>
          <a:p>
            <a:pPr marL="457200" lvl="1" indent="0">
              <a:buNone/>
            </a:pPr>
            <a:endParaRPr lang="sv-SE" dirty="0"/>
          </a:p>
          <a:p>
            <a:pPr lvl="1"/>
            <a:r>
              <a:rPr lang="sv-SE" b="1" dirty="0"/>
              <a:t>Föräldrapolicy</a:t>
            </a:r>
            <a:r>
              <a:rPr lang="sv-SE" dirty="0"/>
              <a:t> – förväntningar på föräldrar till spelare i Öjersjö IF</a:t>
            </a:r>
          </a:p>
          <a:p>
            <a:pPr marL="457200" lvl="1" indent="0">
              <a:buNone/>
            </a:pPr>
            <a:endParaRPr lang="sv-SE" sz="4400" dirty="0"/>
          </a:p>
          <a:p>
            <a:pPr marL="457200" lvl="1" indent="0">
              <a:buNone/>
            </a:pPr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endParaRPr lang="sv-SE" dirty="0"/>
          </a:p>
          <a:p>
            <a:pPr lvl="1"/>
            <a:r>
              <a:rPr lang="sv-SE" dirty="0"/>
              <a:t>Respekt och hänsyn</a:t>
            </a:r>
          </a:p>
          <a:p>
            <a:pPr lvl="1"/>
            <a:r>
              <a:rPr lang="sv-SE" b="1" dirty="0"/>
              <a:t>Spelarpolicy</a:t>
            </a:r>
            <a:r>
              <a:rPr lang="sv-SE" dirty="0"/>
              <a:t> - generellt hur man uppför sig på träningar/matcher (riktlinjer och förväntningar på spelare) </a:t>
            </a:r>
          </a:p>
          <a:p>
            <a:pPr marL="457200" lvl="1" indent="0">
              <a:buNone/>
            </a:pPr>
            <a:endParaRPr lang="sv-SE" sz="3200" dirty="0"/>
          </a:p>
          <a:p>
            <a:pPr lvl="1"/>
            <a:endParaRPr lang="sv-SE" sz="3200" dirty="0"/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D219A318-173B-472F-BE3D-D5C8D3E9BF2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1210074"/>
              </p:ext>
            </p:extLst>
          </p:nvPr>
        </p:nvGraphicFramePr>
        <p:xfrm>
          <a:off x="7563281" y="1865534"/>
          <a:ext cx="1582738" cy="374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5" imgW="1582200" imgH="374040" progId="Package">
                  <p:embed/>
                </p:oleObj>
              </mc:Choice>
              <mc:Fallback>
                <p:oleObj name="Packager Shell Object" showAsIcon="1" r:id="rId5" imgW="1582200" imgH="374040" progId="Package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D219A318-173B-472F-BE3D-D5C8D3E9BF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563281" y="1865534"/>
                        <a:ext cx="1582738" cy="374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F0B579A0-DE0C-4C6E-97DF-D97E441D2A1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8943303"/>
              </p:ext>
            </p:extLst>
          </p:nvPr>
        </p:nvGraphicFramePr>
        <p:xfrm>
          <a:off x="9612303" y="5457079"/>
          <a:ext cx="942975" cy="374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ackager Shell Object" showAsIcon="1" r:id="rId7" imgW="942480" imgH="374040" progId="Package">
                  <p:embed/>
                </p:oleObj>
              </mc:Choice>
              <mc:Fallback>
                <p:oleObj name="Packager Shell Object" showAsIcon="1" r:id="rId7" imgW="942480" imgH="374040" progId="Package">
                  <p:embed/>
                  <p:pic>
                    <p:nvPicPr>
                      <p:cNvPr id="7" name="Object 6">
                        <a:extLst>
                          <a:ext uri="{FF2B5EF4-FFF2-40B4-BE49-F238E27FC236}">
                            <a16:creationId xmlns:a16="http://schemas.microsoft.com/office/drawing/2014/main" id="{F0B579A0-DE0C-4C6E-97DF-D97E441D2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612303" y="5457079"/>
                        <a:ext cx="942975" cy="374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DCB55D0E-8D17-4773-9F21-C32EE12BC7B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025033" y="2345867"/>
            <a:ext cx="4176510" cy="281958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11868D3-71F1-47F0-A998-0FDF6E38948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" b="152"/>
          <a:stretch/>
        </p:blipFill>
        <p:spPr>
          <a:xfrm>
            <a:off x="123604" y="105342"/>
            <a:ext cx="2902911" cy="2898250"/>
          </a:xfrm>
          <a:custGeom>
            <a:avLst/>
            <a:gdLst/>
            <a:ahLst/>
            <a:cxnLst/>
            <a:rect l="l" t="t" r="r" b="b"/>
            <a:pathLst>
              <a:path w="6057610" h="6057610">
                <a:moveTo>
                  <a:pt x="3028805" y="0"/>
                </a:moveTo>
                <a:cubicBezTo>
                  <a:pt x="4701568" y="0"/>
                  <a:pt x="6057610" y="1356042"/>
                  <a:pt x="6057610" y="3028805"/>
                </a:cubicBezTo>
                <a:cubicBezTo>
                  <a:pt x="6057610" y="4701568"/>
                  <a:pt x="4701568" y="6057610"/>
                  <a:pt x="3028805" y="6057610"/>
                </a:cubicBezTo>
                <a:cubicBezTo>
                  <a:pt x="1356042" y="6057610"/>
                  <a:pt x="0" y="4701568"/>
                  <a:pt x="0" y="3028805"/>
                </a:cubicBezTo>
                <a:cubicBezTo>
                  <a:pt x="0" y="1356042"/>
                  <a:pt x="1356042" y="0"/>
                  <a:pt x="3028805" y="0"/>
                </a:cubicBezTo>
                <a:close/>
              </a:path>
            </a:pathLst>
          </a:custGeom>
          <a:effectLst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35389359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931F01C808BB49A570A3C05F1DB1FB" ma:contentTypeVersion="11" ma:contentTypeDescription="Create a new document." ma:contentTypeScope="" ma:versionID="03a9453f7488ba3b319a9bca747d59fc">
  <xsd:schema xmlns:xsd="http://www.w3.org/2001/XMLSchema" xmlns:xs="http://www.w3.org/2001/XMLSchema" xmlns:p="http://schemas.microsoft.com/office/2006/metadata/properties" xmlns:ns3="1a927520-854b-4f91-907f-6645f6e3d218" targetNamespace="http://schemas.microsoft.com/office/2006/metadata/properties" ma:root="true" ma:fieldsID="5ecd0dc0c9df782c66f8f64bbf7c4299" ns3:_="">
    <xsd:import namespace="1a927520-854b-4f91-907f-6645f6e3d21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927520-854b-4f91-907f-6645f6e3d2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77C9DB-7565-44CA-8F28-D02A99E26A8E}">
  <ds:schemaRefs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dcmitype/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1a927520-854b-4f91-907f-6645f6e3d218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A360ECF-1F14-4629-8DD8-1C7A4613BF0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CC9599F-7474-4347-80C0-49F685A261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927520-854b-4f91-907f-6645f6e3d2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04</TotalTime>
  <Words>494</Words>
  <Application>Microsoft Office PowerPoint</Application>
  <PresentationFormat>Widescreen</PresentationFormat>
  <Paragraphs>78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Calibri Light</vt:lpstr>
      <vt:lpstr>Office Theme</vt:lpstr>
      <vt:lpstr>think-cell Slide</vt:lpstr>
      <vt:lpstr>Packager Shell Object</vt:lpstr>
      <vt:lpstr>Öjersjö IF P-15 </vt:lpstr>
      <vt:lpstr>PowerPoint Presentation</vt:lpstr>
      <vt:lpstr>Träningar &amp; Sammandrag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Öjersjö IF P-14</dc:title>
  <dc:creator>Benigar, Markus</dc:creator>
  <cp:lastModifiedBy>Malmqvist, Christina</cp:lastModifiedBy>
  <cp:revision>9</cp:revision>
  <dcterms:created xsi:type="dcterms:W3CDTF">2022-03-18T12:13:52Z</dcterms:created>
  <dcterms:modified xsi:type="dcterms:W3CDTF">2022-04-25T17:1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ea2623-af8f-4fb8-b1cf-b63cc8e496aa_Enabled">
    <vt:lpwstr>true</vt:lpwstr>
  </property>
  <property fmtid="{D5CDD505-2E9C-101B-9397-08002B2CF9AE}" pid="3" name="MSIP_Label_7fea2623-af8f-4fb8-b1cf-b63cc8e496aa_SetDate">
    <vt:lpwstr>2022-03-18T12:13:53Z</vt:lpwstr>
  </property>
  <property fmtid="{D5CDD505-2E9C-101B-9397-08002B2CF9AE}" pid="4" name="MSIP_Label_7fea2623-af8f-4fb8-b1cf-b63cc8e496aa_Method">
    <vt:lpwstr>Standard</vt:lpwstr>
  </property>
  <property fmtid="{D5CDD505-2E9C-101B-9397-08002B2CF9AE}" pid="5" name="MSIP_Label_7fea2623-af8f-4fb8-b1cf-b63cc8e496aa_Name">
    <vt:lpwstr>Internal</vt:lpwstr>
  </property>
  <property fmtid="{D5CDD505-2E9C-101B-9397-08002B2CF9AE}" pid="6" name="MSIP_Label_7fea2623-af8f-4fb8-b1cf-b63cc8e496aa_SiteId">
    <vt:lpwstr>81fa766e-a349-4867-8bf4-ab35e250a08f</vt:lpwstr>
  </property>
  <property fmtid="{D5CDD505-2E9C-101B-9397-08002B2CF9AE}" pid="7" name="MSIP_Label_7fea2623-af8f-4fb8-b1cf-b63cc8e496aa_ActionId">
    <vt:lpwstr>10f20b76-fd54-4947-93c0-9746eda09c3e</vt:lpwstr>
  </property>
  <property fmtid="{D5CDD505-2E9C-101B-9397-08002B2CF9AE}" pid="8" name="MSIP_Label_7fea2623-af8f-4fb8-b1cf-b63cc8e496aa_ContentBits">
    <vt:lpwstr>0</vt:lpwstr>
  </property>
  <property fmtid="{D5CDD505-2E9C-101B-9397-08002B2CF9AE}" pid="9" name="ContentTypeId">
    <vt:lpwstr>0x01010093931F01C808BB49A570A3C05F1DB1FB</vt:lpwstr>
  </property>
</Properties>
</file>